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8805FB5A-0F03-4E7D-97B7-45622AF91F1A}">
          <p14:sldIdLst>
            <p14:sldId id="2147475173"/>
            <p14:sldId id="2147475174"/>
            <p14:sldId id="2147475175"/>
            <p14:sldId id="2147475176"/>
            <p14:sldId id="2147475177"/>
            <p14:sldId id="2147475178"/>
          </p14:sldIdLst>
        </p14:section>
        <p14:section name="Brackets By Retailer By Sector" id="{17586098-0781-49EF-A7FC-081F1654E3A1}">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D906FC80-8FB6-43B2-8CF3-D7D52DF4C5E1}">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86806456609E-2</c:v>
                </c:pt>
                <c:pt idx="1">
                  <c:v>1.9388419241720661E-2</c:v>
                </c:pt>
                <c:pt idx="2">
                  <c:v>2.1087854795020847E-2</c:v>
                </c:pt>
                <c:pt idx="3">
                  <c:v>4.6570673243805184E-2</c:v>
                </c:pt>
                <c:pt idx="4">
                  <c:v>7.462882923789696E-2</c:v>
                </c:pt>
                <c:pt idx="5">
                  <c:v>9.6005516019994852E-2</c:v>
                </c:pt>
                <c:pt idx="6">
                  <c:v>0.1265381674943396</c:v>
                </c:pt>
                <c:pt idx="7">
                  <c:v>0.17825652938472852</c:v>
                </c:pt>
                <c:pt idx="8">
                  <c:v>0.23031073586023193</c:v>
                </c:pt>
                <c:pt idx="9">
                  <c:v>0.10325666844976601</c:v>
                </c:pt>
                <c:pt idx="10">
                  <c:v>8.341473820792935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9812717608735983E-3</c:v>
                </c:pt>
                <c:pt idx="4">
                  <c:v>7.5990963650850868E-3</c:v>
                </c:pt>
                <c:pt idx="5">
                  <c:v>3.5924220732757128E-3</c:v>
                </c:pt>
                <c:pt idx="6">
                  <c:v>3.2777212980458176E-3</c:v>
                </c:pt>
                <c:pt idx="7">
                  <c:v>4.1556947684890846E-3</c:v>
                </c:pt>
                <c:pt idx="8">
                  <c:v>1.8617436727184685E-3</c:v>
                </c:pt>
                <c:pt idx="9">
                  <c:v>1.44107030244945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9E-2</c:v>
                </c:pt>
                <c:pt idx="4">
                  <c:v>7.0418162902305598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64E-2</c:v>
                </c:pt>
                <c:pt idx="1">
                  <c:v>2.062966834660215E-2</c:v>
                </c:pt>
                <c:pt idx="2">
                  <c:v>8.0083321202325128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79075732324675E-2</c:v>
                </c:pt>
                <c:pt idx="1">
                  <c:v>5.824230887877261E-3</c:v>
                </c:pt>
                <c:pt idx="2">
                  <c:v>8.8857628345494141E-3</c:v>
                </c:pt>
                <c:pt idx="3">
                  <c:v>2.8017279950396302E-2</c:v>
                </c:pt>
                <c:pt idx="4">
                  <c:v>0.10832678515330775</c:v>
                </c:pt>
                <c:pt idx="5">
                  <c:v>6.6750441766783075E-2</c:v>
                </c:pt>
                <c:pt idx="6">
                  <c:v>0.21478575642534897</c:v>
                </c:pt>
                <c:pt idx="7">
                  <c:v>0.26519036993065692</c:v>
                </c:pt>
                <c:pt idx="8">
                  <c:v>0.15819348490249532</c:v>
                </c:pt>
                <c:pt idx="9">
                  <c:v>4.991458045757674E-2</c:v>
                </c:pt>
                <c:pt idx="10">
                  <c:v>1.73205503677614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43100656871526E-2</c:v>
                </c:pt>
                <c:pt idx="1">
                  <c:v>1.7668436403600652E-2</c:v>
                </c:pt>
                <c:pt idx="2">
                  <c:v>1.9761089853989711E-2</c:v>
                </c:pt>
                <c:pt idx="3">
                  <c:v>7.1929017483309335E-2</c:v>
                </c:pt>
                <c:pt idx="4">
                  <c:v>8.5834699757590782E-2</c:v>
                </c:pt>
                <c:pt idx="5">
                  <c:v>9.9113253128779624E-2</c:v>
                </c:pt>
                <c:pt idx="6">
                  <c:v>0.10772432930876731</c:v>
                </c:pt>
                <c:pt idx="7">
                  <c:v>0.18687023002152806</c:v>
                </c:pt>
                <c:pt idx="8">
                  <c:v>0.17963631715180861</c:v>
                </c:pt>
                <c:pt idx="9">
                  <c:v>0.14017528983490166</c:v>
                </c:pt>
                <c:pt idx="10">
                  <c:v>5.95442363988527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448429682449359E-2</c:v>
                </c:pt>
                <c:pt idx="1">
                  <c:v>6.0672713405118314E-3</c:v>
                </c:pt>
                <c:pt idx="2">
                  <c:v>8.8689164590058552E-3</c:v>
                </c:pt>
                <c:pt idx="3">
                  <c:v>2.6540558614162744E-2</c:v>
                </c:pt>
                <c:pt idx="4">
                  <c:v>0.10919847111894317</c:v>
                </c:pt>
                <c:pt idx="5">
                  <c:v>6.8477411550126682E-2</c:v>
                </c:pt>
                <c:pt idx="6">
                  <c:v>0.21762123672328099</c:v>
                </c:pt>
                <c:pt idx="7">
                  <c:v>0.26121260760034987</c:v>
                </c:pt>
                <c:pt idx="8">
                  <c:v>0.1583424397951064</c:v>
                </c:pt>
                <c:pt idx="9">
                  <c:v>5.2444286750582443E-2</c:v>
                </c:pt>
                <c:pt idx="10">
                  <c:v>1.477837036548063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015941668175954E-2</c:v>
                </c:pt>
                <c:pt idx="4">
                  <c:v>3.9081359199743898E-2</c:v>
                </c:pt>
                <c:pt idx="5">
                  <c:v>4.124769773083601E-2</c:v>
                </c:pt>
                <c:pt idx="6">
                  <c:v>2.2447565871506092E-2</c:v>
                </c:pt>
                <c:pt idx="7">
                  <c:v>7.0072880077931637E-2</c:v>
                </c:pt>
                <c:pt idx="8">
                  <c:v>1.775360760129362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7302200976453883E-2</c:v>
                </c:pt>
                <c:pt idx="4">
                  <c:v>7.3258272750350337E-2</c:v>
                </c:pt>
                <c:pt idx="5">
                  <c:v>3.46323593536196E-2</c:v>
                </c:pt>
                <c:pt idx="6">
                  <c:v>3.1598520312906206E-2</c:v>
                </c:pt>
                <c:pt idx="7">
                  <c:v>4.0062529304925924E-2</c:v>
                </c:pt>
                <c:pt idx="8">
                  <c:v>1.7947940020065979E-2</c:v>
                </c:pt>
                <c:pt idx="9">
                  <c:v>1.38924835529559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5.1788568969705526E-4</c:v>
                </c:pt>
                <c:pt idx="3">
                  <c:v>4.2210002552103779E-3</c:v>
                </c:pt>
                <c:pt idx="4">
                  <c:v>4.8367016634500255E-3</c:v>
                </c:pt>
                <c:pt idx="6">
                  <c:v>5.3328952288445399E-4</c:v>
                </c:pt>
                <c:pt idx="7">
                  <c:v>5.220675961809901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6</c:v>
                </c:pt>
                <c:pt idx="6">
                  <c:v>0.12398962027820842</c:v>
                </c:pt>
                <c:pt idx="7">
                  <c:v>0.12106155214187639</c:v>
                </c:pt>
                <c:pt idx="8">
                  <c:v>0.3262023710047276</c:v>
                </c:pt>
                <c:pt idx="9">
                  <c:v>0.10121561452946574</c:v>
                </c:pt>
                <c:pt idx="10">
                  <c:v>9.50555590826723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86E-3</c:v>
                </c:pt>
                <c:pt idx="1">
                  <c:v>1.6414059402893172E-2</c:v>
                </c:pt>
                <c:pt idx="2">
                  <c:v>1.8161040186737358E-2</c:v>
                </c:pt>
                <c:pt idx="3">
                  <c:v>4.1076518711765493E-2</c:v>
                </c:pt>
                <c:pt idx="4">
                  <c:v>7.1941890867163433E-2</c:v>
                </c:pt>
                <c:pt idx="5">
                  <c:v>9.2447332939716881E-2</c:v>
                </c:pt>
                <c:pt idx="6">
                  <c:v>0.10831682527395142</c:v>
                </c:pt>
                <c:pt idx="7">
                  <c:v>0.18902377510261559</c:v>
                </c:pt>
                <c:pt idx="8">
                  <c:v>0.19576873044059104</c:v>
                </c:pt>
                <c:pt idx="9">
                  <c:v>4.9546663979823755E-2</c:v>
                </c:pt>
                <c:pt idx="10">
                  <c:v>0.211159130405139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605E-2</c:v>
                </c:pt>
                <c:pt idx="5">
                  <c:v>0.1236600148751794</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86806456609E-2</c:v>
                </c:pt>
                <c:pt idx="1">
                  <c:v>1.9388419241720661E-2</c:v>
                </c:pt>
                <c:pt idx="2">
                  <c:v>2.1087854795020847E-2</c:v>
                </c:pt>
                <c:pt idx="3">
                  <c:v>4.6570673243805184E-2</c:v>
                </c:pt>
                <c:pt idx="4">
                  <c:v>7.462882923789696E-2</c:v>
                </c:pt>
                <c:pt idx="5">
                  <c:v>9.6005516019994852E-2</c:v>
                </c:pt>
                <c:pt idx="6">
                  <c:v>0.1265381674943396</c:v>
                </c:pt>
                <c:pt idx="7">
                  <c:v>0.17825652938472852</c:v>
                </c:pt>
                <c:pt idx="8">
                  <c:v>0.23031073586023193</c:v>
                </c:pt>
                <c:pt idx="9">
                  <c:v>0.10325666844976601</c:v>
                </c:pt>
                <c:pt idx="10">
                  <c:v>8.341473820792935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2</c:v>
                </c:pt>
                <c:pt idx="6">
                  <c:v>0.12647657415686711</c:v>
                </c:pt>
                <c:pt idx="7">
                  <c:v>0.19717935221122621</c:v>
                </c:pt>
                <c:pt idx="8">
                  <c:v>0.14705443469514709</c:v>
                </c:pt>
                <c:pt idx="9">
                  <c:v>0.12556180470126249</c:v>
                </c:pt>
                <c:pt idx="10">
                  <c:v>0.134117996070405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2E-2</c:v>
                </c:pt>
                <c:pt idx="5">
                  <c:v>0.14762693303421917</c:v>
                </c:pt>
                <c:pt idx="6">
                  <c:v>0.13467382647792436</c:v>
                </c:pt>
                <c:pt idx="7">
                  <c:v>0.15483900827319605</c:v>
                </c:pt>
                <c:pt idx="8">
                  <c:v>0.26165380079754724</c:v>
                </c:pt>
                <c:pt idx="9">
                  <c:v>0.18614307658344176</c:v>
                </c:pt>
                <c:pt idx="10">
                  <c:v>2.04385684151761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1</c:v>
                </c:pt>
                <c:pt idx="6">
                  <c:v>0.1286472547711171</c:v>
                </c:pt>
                <c:pt idx="7">
                  <c:v>0.1797236450590925</c:v>
                </c:pt>
                <c:pt idx="8">
                  <c:v>0.24907140238754866</c:v>
                </c:pt>
                <c:pt idx="9">
                  <c:v>0.15553268833943143</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71E-2</c:v>
                </c:pt>
                <c:pt idx="5">
                  <c:v>0.1579797189122554</c:v>
                </c:pt>
                <c:pt idx="6">
                  <c:v>9.598337906718378E-2</c:v>
                </c:pt>
                <c:pt idx="7">
                  <c:v>0.21068997706434742</c:v>
                </c:pt>
                <c:pt idx="8">
                  <c:v>0.19968366113881508</c:v>
                </c:pt>
                <c:pt idx="9">
                  <c:v>0.15604544109593402</c:v>
                </c:pt>
                <c:pt idx="10">
                  <c:v>4.26984153395650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07E-2</c:v>
                </c:pt>
                <c:pt idx="1">
                  <c:v>2.3450659593645454E-2</c:v>
                </c:pt>
                <c:pt idx="2">
                  <c:v>4.2418163511807661E-2</c:v>
                </c:pt>
                <c:pt idx="3">
                  <c:v>2.0666175437598685E-2</c:v>
                </c:pt>
                <c:pt idx="4">
                  <c:v>5.0223009271810573E-2</c:v>
                </c:pt>
                <c:pt idx="5">
                  <c:v>7.2486072766880225E-2</c:v>
                </c:pt>
                <c:pt idx="6">
                  <c:v>0.14481255446315669</c:v>
                </c:pt>
                <c:pt idx="7">
                  <c:v>0.16464962829241295</c:v>
                </c:pt>
                <c:pt idx="8">
                  <c:v>0.37080110599668015</c:v>
                </c:pt>
                <c:pt idx="9">
                  <c:v>7.1442598795916926E-2</c:v>
                </c:pt>
                <c:pt idx="10">
                  <c:v>2.9383996426922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5.208312875221814E-3</c:v>
                </c:pt>
                <c:pt idx="7">
                  <c:v>3.893851609747138E-3</c:v>
                </c:pt>
                <c:pt idx="8">
                  <c:v>7.0475267534229414E-3</c:v>
                </c:pt>
                <c:pt idx="9">
                  <c:v>6.9206110098032382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8</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9E-2</c:v>
                </c:pt>
                <c:pt idx="4">
                  <c:v>7.0418162902305598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64E-2</c:v>
                </c:pt>
                <c:pt idx="1">
                  <c:v>2.062966834660215E-2</c:v>
                </c:pt>
                <c:pt idx="2">
                  <c:v>8.0083321202325128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4E-2</c:v>
                </c:pt>
                <c:pt idx="1">
                  <c:v>2.5712148835382802E-2</c:v>
                </c:pt>
                <c:pt idx="2">
                  <c:v>3.3589224880169175E-2</c:v>
                </c:pt>
                <c:pt idx="3">
                  <c:v>4.7555465818613675E-2</c:v>
                </c:pt>
                <c:pt idx="4">
                  <c:v>7.2169314610381535E-2</c:v>
                </c:pt>
                <c:pt idx="5">
                  <c:v>0.11538975237199361</c:v>
                </c:pt>
                <c:pt idx="6">
                  <c:v>0.13910064653920556</c:v>
                </c:pt>
                <c:pt idx="7">
                  <c:v>0.18415888055193388</c:v>
                </c:pt>
                <c:pt idx="8">
                  <c:v>0.19567579739573701</c:v>
                </c:pt>
                <c:pt idx="9">
                  <c:v>0.13733259935179568</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79075732324675E-2</c:v>
                </c:pt>
                <c:pt idx="1">
                  <c:v>5.824230887877261E-3</c:v>
                </c:pt>
                <c:pt idx="2">
                  <c:v>8.8857628345494141E-3</c:v>
                </c:pt>
                <c:pt idx="3">
                  <c:v>2.8017279950396302E-2</c:v>
                </c:pt>
                <c:pt idx="4">
                  <c:v>0.10832678515330775</c:v>
                </c:pt>
                <c:pt idx="5">
                  <c:v>6.6750441766783075E-2</c:v>
                </c:pt>
                <c:pt idx="6">
                  <c:v>0.21478575642534897</c:v>
                </c:pt>
                <c:pt idx="7">
                  <c:v>0.26519036993065692</c:v>
                </c:pt>
                <c:pt idx="8">
                  <c:v>0.15819348490249532</c:v>
                </c:pt>
                <c:pt idx="9">
                  <c:v>4.991458045757674E-2</c:v>
                </c:pt>
                <c:pt idx="10">
                  <c:v>1.73205503677614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448429682449359E-2</c:v>
                </c:pt>
                <c:pt idx="1">
                  <c:v>6.0672713405118314E-3</c:v>
                </c:pt>
                <c:pt idx="2">
                  <c:v>8.8689164590058552E-3</c:v>
                </c:pt>
                <c:pt idx="3">
                  <c:v>2.6540558614162744E-2</c:v>
                </c:pt>
                <c:pt idx="4">
                  <c:v>0.10919847111894317</c:v>
                </c:pt>
                <c:pt idx="5">
                  <c:v>6.8477411550126682E-2</c:v>
                </c:pt>
                <c:pt idx="6">
                  <c:v>0.21762123672328099</c:v>
                </c:pt>
                <c:pt idx="7">
                  <c:v>0.26121260760034987</c:v>
                </c:pt>
                <c:pt idx="8">
                  <c:v>0.1583424397951064</c:v>
                </c:pt>
                <c:pt idx="9">
                  <c:v>5.2444286750582443E-2</c:v>
                </c:pt>
                <c:pt idx="10">
                  <c:v>1.477837036548063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6642986528543759E-3</c:v>
                </c:pt>
                <c:pt idx="6">
                  <c:v>3.0894232753136022E-3</c:v>
                </c:pt>
                <c:pt idx="7">
                  <c:v>6.4601847886509864E-3</c:v>
                </c:pt>
                <c:pt idx="8">
                  <c:v>8.665698137942348E-3</c:v>
                </c:pt>
                <c:pt idx="9">
                  <c:v>1.088078530865875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5.2169058119941238E-4</c:v>
                </c:pt>
                <c:pt idx="5">
                  <c:v>1.825891858014151E-2</c:v>
                </c:pt>
                <c:pt idx="7">
                  <c:v>3.0103958299176215E-2</c:v>
                </c:pt>
                <c:pt idx="8">
                  <c:v>3.790488467516881E-2</c:v>
                </c:pt>
                <c:pt idx="9">
                  <c:v>6.090090250095975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0882278192255596E-3</c:v>
                </c:pt>
                <c:pt idx="6">
                  <c:v>1.6922679704348721E-2</c:v>
                </c:pt>
                <c:pt idx="7">
                  <c:v>3.958883722423117E-2</c:v>
                </c:pt>
                <c:pt idx="8">
                  <c:v>3.4473442719874167E-2</c:v>
                </c:pt>
                <c:pt idx="9">
                  <c:v>8.5525735974126566E-3</c:v>
                </c:pt>
                <c:pt idx="10">
                  <c:v>7.2916193949321378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6</c:v>
                </c:pt>
                <c:pt idx="6">
                  <c:v>0.12398962027820842</c:v>
                </c:pt>
                <c:pt idx="7">
                  <c:v>0.12106155214187639</c:v>
                </c:pt>
                <c:pt idx="8">
                  <c:v>0.3262023710047276</c:v>
                </c:pt>
                <c:pt idx="9">
                  <c:v>0.10121561452946574</c:v>
                </c:pt>
                <c:pt idx="10">
                  <c:v>9.50555590826723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9629555086729643E-2</c:v>
                </c:pt>
                <c:pt idx="6">
                  <c:v>4.0721750145490329E-3</c:v>
                </c:pt>
                <c:pt idx="7">
                  <c:v>2.1327844707948126E-2</c:v>
                </c:pt>
                <c:pt idx="8">
                  <c:v>6.9933581499023234E-2</c:v>
                </c:pt>
                <c:pt idx="9">
                  <c:v>9.43198508798930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86E-3</c:v>
                </c:pt>
                <c:pt idx="1">
                  <c:v>1.6414059402893172E-2</c:v>
                </c:pt>
                <c:pt idx="2">
                  <c:v>1.8161040186737358E-2</c:v>
                </c:pt>
                <c:pt idx="3">
                  <c:v>4.1076518711765493E-2</c:v>
                </c:pt>
                <c:pt idx="4">
                  <c:v>7.1941890867163433E-2</c:v>
                </c:pt>
                <c:pt idx="5">
                  <c:v>9.2447332939716881E-2</c:v>
                </c:pt>
                <c:pt idx="6">
                  <c:v>0.10831682527395142</c:v>
                </c:pt>
                <c:pt idx="7">
                  <c:v>0.18902377510261559</c:v>
                </c:pt>
                <c:pt idx="8">
                  <c:v>0.19576873044059104</c:v>
                </c:pt>
                <c:pt idx="9">
                  <c:v>4.9546663979823755E-2</c:v>
                </c:pt>
                <c:pt idx="10">
                  <c:v>0.211159130405139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43100656871526E-2</c:v>
                </c:pt>
                <c:pt idx="1">
                  <c:v>1.7668436403600652E-2</c:v>
                </c:pt>
                <c:pt idx="2">
                  <c:v>1.9761089853989711E-2</c:v>
                </c:pt>
                <c:pt idx="3">
                  <c:v>7.1929017483309335E-2</c:v>
                </c:pt>
                <c:pt idx="4">
                  <c:v>8.5834699757590782E-2</c:v>
                </c:pt>
                <c:pt idx="5">
                  <c:v>9.9113253128779624E-2</c:v>
                </c:pt>
                <c:pt idx="6">
                  <c:v>0.10772432930876731</c:v>
                </c:pt>
                <c:pt idx="7">
                  <c:v>0.18687023002152806</c:v>
                </c:pt>
                <c:pt idx="8">
                  <c:v>0.17963631715180861</c:v>
                </c:pt>
                <c:pt idx="9">
                  <c:v>0.14017528983490166</c:v>
                </c:pt>
                <c:pt idx="10">
                  <c:v>5.95442363988527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2295290510459986E-3</c:v>
                </c:pt>
                <c:pt idx="8">
                  <c:v>9.24652270186310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605E-2</c:v>
                </c:pt>
                <c:pt idx="5">
                  <c:v>0.1236600148751794</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4.1558243033905503E-3</c:v>
                </c:pt>
                <c:pt idx="8">
                  <c:v>1.198829569456491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2</c:v>
                </c:pt>
                <c:pt idx="6">
                  <c:v>0.12647657415686711</c:v>
                </c:pt>
                <c:pt idx="7">
                  <c:v>0.19717935221122621</c:v>
                </c:pt>
                <c:pt idx="8">
                  <c:v>0.14705443469514709</c:v>
                </c:pt>
                <c:pt idx="9">
                  <c:v>0.12556180470126249</c:v>
                </c:pt>
                <c:pt idx="10">
                  <c:v>0.134117996070405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8740610394460178E-3</c:v>
                </c:pt>
                <c:pt idx="8">
                  <c:v>1.151269219913366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2E-2</c:v>
                </c:pt>
                <c:pt idx="5">
                  <c:v>0.14762693303421917</c:v>
                </c:pt>
                <c:pt idx="6">
                  <c:v>0.13467382647792436</c:v>
                </c:pt>
                <c:pt idx="7">
                  <c:v>0.15483900827319605</c:v>
                </c:pt>
                <c:pt idx="8">
                  <c:v>0.26165380079754724</c:v>
                </c:pt>
                <c:pt idx="9">
                  <c:v>0.18614307658344176</c:v>
                </c:pt>
                <c:pt idx="10">
                  <c:v>2.04385684151761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1</c:v>
                </c:pt>
                <c:pt idx="6">
                  <c:v>0.1286472547711171</c:v>
                </c:pt>
                <c:pt idx="7">
                  <c:v>0.1797236450590925</c:v>
                </c:pt>
                <c:pt idx="8">
                  <c:v>0.24907140238754866</c:v>
                </c:pt>
                <c:pt idx="9">
                  <c:v>0.15553268833943143</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71E-2</c:v>
                </c:pt>
                <c:pt idx="5">
                  <c:v>0.1579797189122554</c:v>
                </c:pt>
                <c:pt idx="6">
                  <c:v>9.598337906718378E-2</c:v>
                </c:pt>
                <c:pt idx="7">
                  <c:v>0.21068997706434742</c:v>
                </c:pt>
                <c:pt idx="8">
                  <c:v>0.19968366113881508</c:v>
                </c:pt>
                <c:pt idx="9">
                  <c:v>0.15604544109593402</c:v>
                </c:pt>
                <c:pt idx="10">
                  <c:v>4.26984153395650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5.2042993999793629E-3</c:v>
                </c:pt>
                <c:pt idx="7">
                  <c:v>2.2808915986653336E-3</c:v>
                </c:pt>
                <c:pt idx="8">
                  <c:v>6.7411665664567867E-3</c:v>
                </c:pt>
                <c:pt idx="9">
                  <c:v>6.6892867869542544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07E-2</c:v>
                </c:pt>
                <c:pt idx="1">
                  <c:v>2.3450659593645454E-2</c:v>
                </c:pt>
                <c:pt idx="2">
                  <c:v>4.2418163511807661E-2</c:v>
                </c:pt>
                <c:pt idx="3">
                  <c:v>2.0666175437598685E-2</c:v>
                </c:pt>
                <c:pt idx="4">
                  <c:v>5.0223009271810573E-2</c:v>
                </c:pt>
                <c:pt idx="5">
                  <c:v>7.2486072766880225E-2</c:v>
                </c:pt>
                <c:pt idx="6">
                  <c:v>0.14481255446315669</c:v>
                </c:pt>
                <c:pt idx="7">
                  <c:v>0.16464962829241295</c:v>
                </c:pt>
                <c:pt idx="8">
                  <c:v>0.37080110599668015</c:v>
                </c:pt>
                <c:pt idx="9">
                  <c:v>7.1442598795916926E-2</c:v>
                </c:pt>
                <c:pt idx="10">
                  <c:v>2.9383996426922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8</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9E-2</c:v>
                </c:pt>
                <c:pt idx="4">
                  <c:v>7.0418162902305598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64E-2</c:v>
                </c:pt>
                <c:pt idx="1">
                  <c:v>2.062966834660215E-2</c:v>
                </c:pt>
                <c:pt idx="2">
                  <c:v>8.0083321202325128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7491382740963E-2</c:v>
                </c:pt>
                <c:pt idx="1">
                  <c:v>1.9844749506181529E-2</c:v>
                </c:pt>
                <c:pt idx="2">
                  <c:v>2.0650975604824384E-2</c:v>
                </c:pt>
                <c:pt idx="3">
                  <c:v>3.8112756164787195E-2</c:v>
                </c:pt>
                <c:pt idx="4">
                  <c:v>6.1780284235111782E-2</c:v>
                </c:pt>
                <c:pt idx="5">
                  <c:v>9.9232697922490468E-2</c:v>
                </c:pt>
                <c:pt idx="6">
                  <c:v>0.13318263902711563</c:v>
                </c:pt>
                <c:pt idx="7">
                  <c:v>0.17852552028295066</c:v>
                </c:pt>
                <c:pt idx="8">
                  <c:v>0.24419319081565979</c:v>
                </c:pt>
                <c:pt idx="9">
                  <c:v>9.5217018324198863E-2</c:v>
                </c:pt>
                <c:pt idx="10">
                  <c:v>9.257267673393883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79075732324675E-2</c:v>
                </c:pt>
                <c:pt idx="1">
                  <c:v>5.824230887877261E-3</c:v>
                </c:pt>
                <c:pt idx="2">
                  <c:v>8.8857628345494141E-3</c:v>
                </c:pt>
                <c:pt idx="3">
                  <c:v>2.8017279950396302E-2</c:v>
                </c:pt>
                <c:pt idx="4">
                  <c:v>0.10832678515330775</c:v>
                </c:pt>
                <c:pt idx="5">
                  <c:v>6.6750441766783075E-2</c:v>
                </c:pt>
                <c:pt idx="6">
                  <c:v>0.21478575642534897</c:v>
                </c:pt>
                <c:pt idx="7">
                  <c:v>0.26519036993065692</c:v>
                </c:pt>
                <c:pt idx="8">
                  <c:v>0.15819348490249532</c:v>
                </c:pt>
                <c:pt idx="9">
                  <c:v>4.991458045757674E-2</c:v>
                </c:pt>
                <c:pt idx="10">
                  <c:v>1.732055036776149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448429682449359E-2</c:v>
                </c:pt>
                <c:pt idx="1">
                  <c:v>6.0672713405118314E-3</c:v>
                </c:pt>
                <c:pt idx="2">
                  <c:v>8.8689164590058552E-3</c:v>
                </c:pt>
                <c:pt idx="3">
                  <c:v>2.6540558614162744E-2</c:v>
                </c:pt>
                <c:pt idx="4">
                  <c:v>0.10919847111894317</c:v>
                </c:pt>
                <c:pt idx="5">
                  <c:v>6.8477411550126682E-2</c:v>
                </c:pt>
                <c:pt idx="6">
                  <c:v>0.21762123672328099</c:v>
                </c:pt>
                <c:pt idx="7">
                  <c:v>0.26121260760034987</c:v>
                </c:pt>
                <c:pt idx="8">
                  <c:v>0.1583424397951064</c:v>
                </c:pt>
                <c:pt idx="9">
                  <c:v>5.2444286750582443E-2</c:v>
                </c:pt>
                <c:pt idx="10">
                  <c:v>1.477837036548063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562447641932109E-3</c:v>
                </c:pt>
                <c:pt idx="3">
                  <c:v>6.0891987761119311E-4</c:v>
                </c:pt>
                <c:pt idx="4">
                  <c:v>8.840231951314473E-4</c:v>
                </c:pt>
                <c:pt idx="5">
                  <c:v>2.3583031058826112E-3</c:v>
                </c:pt>
                <c:pt idx="7">
                  <c:v>5.7356650532077134E-3</c:v>
                </c:pt>
                <c:pt idx="8">
                  <c:v>6.14173951417838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6120866383027601E-3</c:v>
                </c:pt>
                <c:pt idx="3">
                  <c:v>7.1966466151049933E-4</c:v>
                </c:pt>
                <c:pt idx="4">
                  <c:v>1.0448012569199275E-3</c:v>
                </c:pt>
                <c:pt idx="5">
                  <c:v>2.7872097279732009E-3</c:v>
                </c:pt>
                <c:pt idx="7">
                  <c:v>6.7788154087654517E-3</c:v>
                </c:pt>
                <c:pt idx="8">
                  <c:v>7.258742982568703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5E-2</c:v>
                </c:pt>
                <c:pt idx="2">
                  <c:v>3.3618921453349208E-2</c:v>
                </c:pt>
                <c:pt idx="3">
                  <c:v>4.3193698660743143E-2</c:v>
                </c:pt>
                <c:pt idx="4">
                  <c:v>6.0866470201537952E-2</c:v>
                </c:pt>
                <c:pt idx="5">
                  <c:v>0.11629275414523582</c:v>
                </c:pt>
                <c:pt idx="6">
                  <c:v>0.14114999538782796</c:v>
                </c:pt>
                <c:pt idx="7">
                  <c:v>0.18708207317322248</c:v>
                </c:pt>
                <c:pt idx="8">
                  <c:v>0.19672272953911321</c:v>
                </c:pt>
                <c:pt idx="9">
                  <c:v>0.14353338057932882</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265745294642621E-3</c:v>
                </c:pt>
                <c:pt idx="3">
                  <c:v>3.4725365029936576E-3</c:v>
                </c:pt>
                <c:pt idx="4">
                  <c:v>1.8439494441048283E-3</c:v>
                </c:pt>
                <c:pt idx="5">
                  <c:v>2.2671840543629514E-3</c:v>
                </c:pt>
                <c:pt idx="6">
                  <c:v>2.5051656416924775E-3</c:v>
                </c:pt>
                <c:pt idx="7">
                  <c:v>6.0241573619378257E-3</c:v>
                </c:pt>
                <c:pt idx="8">
                  <c:v>7.141709990768625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07163329055978E-2</c:v>
                </c:pt>
                <c:pt idx="1">
                  <c:v>1.2044393970977332E-2</c:v>
                </c:pt>
                <c:pt idx="2">
                  <c:v>1.4302872009187801E-2</c:v>
                </c:pt>
                <c:pt idx="3">
                  <c:v>7.3534143323884416E-2</c:v>
                </c:pt>
                <c:pt idx="4">
                  <c:v>5.488923808164483E-2</c:v>
                </c:pt>
                <c:pt idx="5">
                  <c:v>0.12557448270961982</c:v>
                </c:pt>
                <c:pt idx="6">
                  <c:v>0.12102272836063067</c:v>
                </c:pt>
                <c:pt idx="7">
                  <c:v>0.18684329868097355</c:v>
                </c:pt>
                <c:pt idx="8">
                  <c:v>0.21470096608732964</c:v>
                </c:pt>
                <c:pt idx="9">
                  <c:v>0.11508403400458216</c:v>
                </c:pt>
                <c:pt idx="10">
                  <c:v>6.759667944211376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3671889571902413E-3</c:v>
                </c:pt>
                <c:pt idx="2">
                  <c:v>8.9858546574477774E-4</c:v>
                </c:pt>
                <c:pt idx="5">
                  <c:v>5.8653258897612692E-3</c:v>
                </c:pt>
                <c:pt idx="6">
                  <c:v>8.6257971841792122E-4</c:v>
                </c:pt>
                <c:pt idx="7">
                  <c:v>7.3825984223169303E-3</c:v>
                </c:pt>
                <c:pt idx="8">
                  <c:v>7.831692784336112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697</c:v>
                </c:pt>
                <c:pt idx="5">
                  <c:v>9.5015674280341245E-2</c:v>
                </c:pt>
                <c:pt idx="6">
                  <c:v>1.7766219714730622E-2</c:v>
                </c:pt>
                <c:pt idx="7">
                  <c:v>0.15861178296232292</c:v>
                </c:pt>
                <c:pt idx="8">
                  <c:v>0.2067430246170972</c:v>
                </c:pt>
                <c:pt idx="9">
                  <c:v>9.640032498460066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57</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4E-2</c:v>
                </c:pt>
                <c:pt idx="1">
                  <c:v>2.5712148835382802E-2</c:v>
                </c:pt>
                <c:pt idx="2">
                  <c:v>3.3589224880169175E-2</c:v>
                </c:pt>
                <c:pt idx="3">
                  <c:v>4.7555465818613675E-2</c:v>
                </c:pt>
                <c:pt idx="4">
                  <c:v>7.2169314610381535E-2</c:v>
                </c:pt>
                <c:pt idx="5">
                  <c:v>0.11538975237199361</c:v>
                </c:pt>
                <c:pt idx="6">
                  <c:v>0.13910064653920556</c:v>
                </c:pt>
                <c:pt idx="7">
                  <c:v>0.18415888055193388</c:v>
                </c:pt>
                <c:pt idx="8">
                  <c:v>0.19567579739573701</c:v>
                </c:pt>
                <c:pt idx="9">
                  <c:v>0.13733259935179568</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369975056001314E-3</c:v>
                </c:pt>
                <c:pt idx="2">
                  <c:v>4.4690603279236144E-2</c:v>
                </c:pt>
                <c:pt idx="3">
                  <c:v>7.7853908432242444E-3</c:v>
                </c:pt>
                <c:pt idx="4">
                  <c:v>5.3968870489838842E-3</c:v>
                </c:pt>
                <c:pt idx="5">
                  <c:v>1.5186923790371032E-2</c:v>
                </c:pt>
                <c:pt idx="6">
                  <c:v>6.7983065975468271E-2</c:v>
                </c:pt>
                <c:pt idx="7">
                  <c:v>0.17035517494191399</c:v>
                </c:pt>
                <c:pt idx="8">
                  <c:v>0.26971004523275183</c:v>
                </c:pt>
                <c:pt idx="9">
                  <c:v>0.19172318249558798</c:v>
                </c:pt>
                <c:pt idx="10">
                  <c:v>0.221931728886862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916582284430348E-3</c:v>
                </c:pt>
                <c:pt idx="2">
                  <c:v>3.9469355283623969E-2</c:v>
                </c:pt>
                <c:pt idx="3">
                  <c:v>1.2088662743128498E-2</c:v>
                </c:pt>
                <c:pt idx="4">
                  <c:v>7.0793722896692265E-3</c:v>
                </c:pt>
                <c:pt idx="5">
                  <c:v>1.3690961450585395E-2</c:v>
                </c:pt>
                <c:pt idx="6">
                  <c:v>7.0728144672698209E-2</c:v>
                </c:pt>
                <c:pt idx="7">
                  <c:v>0.1685900484983571</c:v>
                </c:pt>
                <c:pt idx="8">
                  <c:v>0.27547271072325769</c:v>
                </c:pt>
                <c:pt idx="9">
                  <c:v>0.18549766489847433</c:v>
                </c:pt>
                <c:pt idx="10">
                  <c:v>0.222017476535176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7491382740963E-2</c:v>
                </c:pt>
                <c:pt idx="1">
                  <c:v>1.9844749506181529E-2</c:v>
                </c:pt>
                <c:pt idx="2">
                  <c:v>2.0650975604824384E-2</c:v>
                </c:pt>
                <c:pt idx="3">
                  <c:v>3.8112756164787195E-2</c:v>
                </c:pt>
                <c:pt idx="4">
                  <c:v>6.1780284235111782E-2</c:v>
                </c:pt>
                <c:pt idx="5">
                  <c:v>9.9232697922490468E-2</c:v>
                </c:pt>
                <c:pt idx="6">
                  <c:v>0.13318263902711563</c:v>
                </c:pt>
                <c:pt idx="7">
                  <c:v>0.17852552028295066</c:v>
                </c:pt>
                <c:pt idx="8">
                  <c:v>0.24419319081565979</c:v>
                </c:pt>
                <c:pt idx="9">
                  <c:v>9.5217018324198863E-2</c:v>
                </c:pt>
                <c:pt idx="10">
                  <c:v>9.257267673393883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3954533553850735E-3</c:v>
                </c:pt>
                <c:pt idx="4">
                  <c:v>4.1195377997191585E-3</c:v>
                </c:pt>
                <c:pt idx="5">
                  <c:v>4.3478899770375079E-3</c:v>
                </c:pt>
                <c:pt idx="6">
                  <c:v>2.3661816787569931E-3</c:v>
                </c:pt>
                <c:pt idx="7">
                  <c:v>7.3863315945807391E-3</c:v>
                </c:pt>
                <c:pt idx="8">
                  <c:v>1.871394933352004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5E-2</c:v>
                </c:pt>
                <c:pt idx="2">
                  <c:v>3.3618921453349208E-2</c:v>
                </c:pt>
                <c:pt idx="3">
                  <c:v>4.3193698660743143E-2</c:v>
                </c:pt>
                <c:pt idx="4">
                  <c:v>6.0866470201537952E-2</c:v>
                </c:pt>
                <c:pt idx="5">
                  <c:v>0.11629275414523582</c:v>
                </c:pt>
                <c:pt idx="6">
                  <c:v>0.14114999538782796</c:v>
                </c:pt>
                <c:pt idx="7">
                  <c:v>0.18708207317322248</c:v>
                </c:pt>
                <c:pt idx="8">
                  <c:v>0.19672272953911321</c:v>
                </c:pt>
                <c:pt idx="9">
                  <c:v>0.14353338057932882</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8805964401529397E-3</c:v>
                </c:pt>
                <c:pt idx="3">
                  <c:v>3.305048724703075E-3</c:v>
                </c:pt>
                <c:pt idx="4">
                  <c:v>1.7550118633459153E-3</c:v>
                </c:pt>
                <c:pt idx="5">
                  <c:v>2.1578329734128375E-3</c:v>
                </c:pt>
                <c:pt idx="6">
                  <c:v>2.3843362055684073E-3</c:v>
                </c:pt>
                <c:pt idx="7">
                  <c:v>5.7335995141645935E-3</c:v>
                </c:pt>
                <c:pt idx="8">
                  <c:v>6.797250216618432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3350570736685104E-3</c:v>
                </c:pt>
                <c:pt idx="4">
                  <c:v>7.9841907685930073E-3</c:v>
                </c:pt>
                <c:pt idx="5">
                  <c:v>3.7744728815551137E-3</c:v>
                </c:pt>
                <c:pt idx="6">
                  <c:v>3.4438242223271344E-3</c:v>
                </c:pt>
                <c:pt idx="7">
                  <c:v>4.3662901763043098E-3</c:v>
                </c:pt>
                <c:pt idx="8">
                  <c:v>1.9560900311123767E-3</c:v>
                </c:pt>
                <c:pt idx="9">
                  <c:v>1.514098473415222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07163329055978E-2</c:v>
                </c:pt>
                <c:pt idx="1">
                  <c:v>1.2044393970977332E-2</c:v>
                </c:pt>
                <c:pt idx="2">
                  <c:v>1.4302872009187801E-2</c:v>
                </c:pt>
                <c:pt idx="3">
                  <c:v>7.3534143323884416E-2</c:v>
                </c:pt>
                <c:pt idx="4">
                  <c:v>5.488923808164483E-2</c:v>
                </c:pt>
                <c:pt idx="5">
                  <c:v>0.12557448270961982</c:v>
                </c:pt>
                <c:pt idx="6">
                  <c:v>0.12102272836063067</c:v>
                </c:pt>
                <c:pt idx="7">
                  <c:v>0.18684329868097355</c:v>
                </c:pt>
                <c:pt idx="8">
                  <c:v>0.21470096608732964</c:v>
                </c:pt>
                <c:pt idx="9">
                  <c:v>0.11508403400458216</c:v>
                </c:pt>
                <c:pt idx="10">
                  <c:v>6.759667944211376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1.0806266603101361E-3</c:v>
                </c:pt>
                <c:pt idx="3">
                  <c:v>8.8075911339130387E-3</c:v>
                </c:pt>
                <c:pt idx="4">
                  <c:v>1.0092321277592933E-2</c:v>
                </c:pt>
                <c:pt idx="6">
                  <c:v>1.1127684884093261E-3</c:v>
                </c:pt>
                <c:pt idx="7">
                  <c:v>1.089352677899283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697</c:v>
                </c:pt>
                <c:pt idx="5">
                  <c:v>9.5015674280341245E-2</c:v>
                </c:pt>
                <c:pt idx="6">
                  <c:v>1.7766219714730622E-2</c:v>
                </c:pt>
                <c:pt idx="7">
                  <c:v>0.15861178296232292</c:v>
                </c:pt>
                <c:pt idx="8">
                  <c:v>0.2067430246170972</c:v>
                </c:pt>
                <c:pt idx="9">
                  <c:v>9.640032498460066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57</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369975056001314E-3</c:v>
                </c:pt>
                <c:pt idx="2">
                  <c:v>4.4690603279236144E-2</c:v>
                </c:pt>
                <c:pt idx="3">
                  <c:v>7.7853908432242444E-3</c:v>
                </c:pt>
                <c:pt idx="4">
                  <c:v>5.3968870489838842E-3</c:v>
                </c:pt>
                <c:pt idx="5">
                  <c:v>1.5186923790371032E-2</c:v>
                </c:pt>
                <c:pt idx="6">
                  <c:v>6.7983065975468271E-2</c:v>
                </c:pt>
                <c:pt idx="7">
                  <c:v>0.17035517494191399</c:v>
                </c:pt>
                <c:pt idx="8">
                  <c:v>0.26971004523275183</c:v>
                </c:pt>
                <c:pt idx="9">
                  <c:v>0.19172318249558798</c:v>
                </c:pt>
                <c:pt idx="10">
                  <c:v>0.221931728886862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43100656871526E-2</c:v>
                </c:pt>
                <c:pt idx="1">
                  <c:v>1.7668436403600652E-2</c:v>
                </c:pt>
                <c:pt idx="2">
                  <c:v>1.9761089853989711E-2</c:v>
                </c:pt>
                <c:pt idx="3">
                  <c:v>7.1929017483309335E-2</c:v>
                </c:pt>
                <c:pt idx="4">
                  <c:v>8.5834699757590782E-2</c:v>
                </c:pt>
                <c:pt idx="5">
                  <c:v>9.9113253128779624E-2</c:v>
                </c:pt>
                <c:pt idx="6">
                  <c:v>0.10772432930876731</c:v>
                </c:pt>
                <c:pt idx="7">
                  <c:v>0.18687023002152806</c:v>
                </c:pt>
                <c:pt idx="8">
                  <c:v>0.17963631715180861</c:v>
                </c:pt>
                <c:pt idx="9">
                  <c:v>0.14017528983490166</c:v>
                </c:pt>
                <c:pt idx="10">
                  <c:v>5.95442363988527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916582284430348E-3</c:v>
                </c:pt>
                <c:pt idx="2">
                  <c:v>3.9469355283623969E-2</c:v>
                </c:pt>
                <c:pt idx="3">
                  <c:v>1.2088662743128498E-2</c:v>
                </c:pt>
                <c:pt idx="4">
                  <c:v>7.0793722896692265E-3</c:v>
                </c:pt>
                <c:pt idx="5">
                  <c:v>1.3690961450585395E-2</c:v>
                </c:pt>
                <c:pt idx="6">
                  <c:v>7.0728144672698209E-2</c:v>
                </c:pt>
                <c:pt idx="7">
                  <c:v>0.1685900484983571</c:v>
                </c:pt>
                <c:pt idx="8">
                  <c:v>0.27547271072325769</c:v>
                </c:pt>
                <c:pt idx="9">
                  <c:v>0.18549766489847433</c:v>
                </c:pt>
                <c:pt idx="10">
                  <c:v>0.222017476535176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7491382740963E-2</c:v>
                </c:pt>
                <c:pt idx="1">
                  <c:v>1.9844749506181529E-2</c:v>
                </c:pt>
                <c:pt idx="2">
                  <c:v>2.0650975604824384E-2</c:v>
                </c:pt>
                <c:pt idx="3">
                  <c:v>3.8112756164787195E-2</c:v>
                </c:pt>
                <c:pt idx="4">
                  <c:v>6.1780284235111782E-2</c:v>
                </c:pt>
                <c:pt idx="5">
                  <c:v>9.9232697922490468E-2</c:v>
                </c:pt>
                <c:pt idx="6">
                  <c:v>0.13318263902711563</c:v>
                </c:pt>
                <c:pt idx="7">
                  <c:v>0.17852552028295066</c:v>
                </c:pt>
                <c:pt idx="8">
                  <c:v>0.24419319081565979</c:v>
                </c:pt>
                <c:pt idx="9">
                  <c:v>9.5217018324198863E-2</c:v>
                </c:pt>
                <c:pt idx="10">
                  <c:v>9.257267673393883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4522559047393941E-3</c:v>
                </c:pt>
                <c:pt idx="7">
                  <c:v>4.4686368842103696E-3</c:v>
                </c:pt>
                <c:pt idx="8">
                  <c:v>8.2910066213317049E-3</c:v>
                </c:pt>
                <c:pt idx="9">
                  <c:v>8.1792685096019116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5E-2</c:v>
                </c:pt>
                <c:pt idx="2">
                  <c:v>3.3618921453349208E-2</c:v>
                </c:pt>
                <c:pt idx="3">
                  <c:v>4.3193698660743143E-2</c:v>
                </c:pt>
                <c:pt idx="4">
                  <c:v>6.0866470201537952E-2</c:v>
                </c:pt>
                <c:pt idx="5">
                  <c:v>0.11629275414523582</c:v>
                </c:pt>
                <c:pt idx="6">
                  <c:v>0.14114999538782796</c:v>
                </c:pt>
                <c:pt idx="7">
                  <c:v>0.18708207317322248</c:v>
                </c:pt>
                <c:pt idx="8">
                  <c:v>0.19672272953911321</c:v>
                </c:pt>
                <c:pt idx="9">
                  <c:v>0.14353338057932882</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2620463993700407E-3</c:v>
                </c:pt>
                <c:pt idx="7">
                  <c:v>6.7875633200204372E-3</c:v>
                </c:pt>
                <c:pt idx="8">
                  <c:v>8.9228132955084145E-3</c:v>
                </c:pt>
                <c:pt idx="9">
                  <c:v>1.143218370220824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07163329055978E-2</c:v>
                </c:pt>
                <c:pt idx="1">
                  <c:v>1.2044393970977332E-2</c:v>
                </c:pt>
                <c:pt idx="2">
                  <c:v>1.4302872009187801E-2</c:v>
                </c:pt>
                <c:pt idx="3">
                  <c:v>7.3534143323884416E-2</c:v>
                </c:pt>
                <c:pt idx="4">
                  <c:v>5.488923808164483E-2</c:v>
                </c:pt>
                <c:pt idx="5">
                  <c:v>0.12557448270961982</c:v>
                </c:pt>
                <c:pt idx="6">
                  <c:v>0.12102272836063067</c:v>
                </c:pt>
                <c:pt idx="7">
                  <c:v>0.18684329868097355</c:v>
                </c:pt>
                <c:pt idx="8">
                  <c:v>0.21470096608732964</c:v>
                </c:pt>
                <c:pt idx="9">
                  <c:v>0.11508403400458216</c:v>
                </c:pt>
                <c:pt idx="10">
                  <c:v>6.759667944211376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0929565669634046E-3</c:v>
                </c:pt>
                <c:pt idx="5">
                  <c:v>2.810932262993805E-3</c:v>
                </c:pt>
                <c:pt idx="7">
                  <c:v>3.5380786132008894E-3</c:v>
                </c:pt>
                <c:pt idx="8">
                  <c:v>3.753305159015161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4.3847375903492266E-3</c:v>
                </c:pt>
                <c:pt idx="6">
                  <c:v>7.2017819521496271E-4</c:v>
                </c:pt>
                <c:pt idx="7">
                  <c:v>3.7612781233017909E-3</c:v>
                </c:pt>
                <c:pt idx="8">
                  <c:v>1.4066201206613426E-2</c:v>
                </c:pt>
                <c:pt idx="9">
                  <c:v>1.395794821956093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697</c:v>
                </c:pt>
                <c:pt idx="5">
                  <c:v>9.5015674280341245E-2</c:v>
                </c:pt>
                <c:pt idx="6">
                  <c:v>1.7766219714730622E-2</c:v>
                </c:pt>
                <c:pt idx="7">
                  <c:v>0.15861178296232292</c:v>
                </c:pt>
                <c:pt idx="8">
                  <c:v>0.2067430246170972</c:v>
                </c:pt>
                <c:pt idx="9">
                  <c:v>9.640032498460066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8098764401118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57</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11240208748273982</c:v>
                </c:pt>
                <c:pt idx="6">
                  <c:v>5.192753562862204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369975056001314E-3</c:v>
                </c:pt>
                <c:pt idx="2">
                  <c:v>4.4690603279236144E-2</c:v>
                </c:pt>
                <c:pt idx="3">
                  <c:v>7.7853908432242444E-3</c:v>
                </c:pt>
                <c:pt idx="4">
                  <c:v>5.3968870489838842E-3</c:v>
                </c:pt>
                <c:pt idx="5">
                  <c:v>1.5186923790371032E-2</c:v>
                </c:pt>
                <c:pt idx="6">
                  <c:v>6.7983065975468271E-2</c:v>
                </c:pt>
                <c:pt idx="7">
                  <c:v>0.17035517494191399</c:v>
                </c:pt>
                <c:pt idx="8">
                  <c:v>0.26971004523275183</c:v>
                </c:pt>
                <c:pt idx="9">
                  <c:v>0.19172318249558798</c:v>
                </c:pt>
                <c:pt idx="10">
                  <c:v>0.221931728886862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13491897843372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86806456609E-2</c:v>
                </c:pt>
                <c:pt idx="1">
                  <c:v>1.9388419241720661E-2</c:v>
                </c:pt>
                <c:pt idx="2">
                  <c:v>2.1087854795020847E-2</c:v>
                </c:pt>
                <c:pt idx="3">
                  <c:v>4.6570673243805184E-2</c:v>
                </c:pt>
                <c:pt idx="4">
                  <c:v>7.462882923789696E-2</c:v>
                </c:pt>
                <c:pt idx="5">
                  <c:v>9.6005516019994852E-2</c:v>
                </c:pt>
                <c:pt idx="6">
                  <c:v>0.1265381674943396</c:v>
                </c:pt>
                <c:pt idx="7">
                  <c:v>0.17825652938472852</c:v>
                </c:pt>
                <c:pt idx="8">
                  <c:v>0.23031073586023193</c:v>
                </c:pt>
                <c:pt idx="9">
                  <c:v>0.10325666844976601</c:v>
                </c:pt>
                <c:pt idx="10">
                  <c:v>8.341473820792935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916582284430348E-3</c:v>
                </c:pt>
                <c:pt idx="2">
                  <c:v>3.9469355283623969E-2</c:v>
                </c:pt>
                <c:pt idx="3">
                  <c:v>1.2088662743128498E-2</c:v>
                </c:pt>
                <c:pt idx="4">
                  <c:v>7.0793722896692265E-3</c:v>
                </c:pt>
                <c:pt idx="5">
                  <c:v>1.3690961450585395E-2</c:v>
                </c:pt>
                <c:pt idx="6">
                  <c:v>7.0728144672698209E-2</c:v>
                </c:pt>
                <c:pt idx="7">
                  <c:v>0.1685900484983571</c:v>
                </c:pt>
                <c:pt idx="8">
                  <c:v>0.27547271072325769</c:v>
                </c:pt>
                <c:pt idx="9">
                  <c:v>0.18549766489847433</c:v>
                </c:pt>
                <c:pt idx="10">
                  <c:v>0.2220174765351763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135647756597255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4267255754208456E-2</c:v>
                </c:pt>
                <c:pt idx="3">
                  <c:v>6.8273370720791371E-3</c:v>
                </c:pt>
                <c:pt idx="4">
                  <c:v>9.9118530279817454E-3</c:v>
                </c:pt>
                <c:pt idx="5">
                  <c:v>2.6441787850900917E-2</c:v>
                </c:pt>
                <c:pt idx="7">
                  <c:v>6.4171820023489701E-2</c:v>
                </c:pt>
                <c:pt idx="8">
                  <c:v>6.276456862498126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2574123656267211E-3</c:v>
                </c:pt>
                <c:pt idx="4">
                  <c:v>3.4856073765726758E-3</c:v>
                </c:pt>
                <c:pt idx="5">
                  <c:v>3.6788198369053695E-3</c:v>
                </c:pt>
                <c:pt idx="6">
                  <c:v>2.0020644826584076E-3</c:v>
                </c:pt>
                <c:pt idx="7">
                  <c:v>6.2496942966848391E-3</c:v>
                </c:pt>
                <c:pt idx="8">
                  <c:v>1.583417436931193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3065561311657662E-3</c:v>
                </c:pt>
                <c:pt idx="8">
                  <c:v>4.78595248592671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544047456652003E-3</c:v>
                </c:pt>
                <c:pt idx="7">
                  <c:v>2.6853604363414013E-3</c:v>
                </c:pt>
                <c:pt idx="8">
                  <c:v>3.1063303339930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6</c:v>
                </c:pt>
                <c:pt idx="6">
                  <c:v>0.12398962027820842</c:v>
                </c:pt>
                <c:pt idx="7">
                  <c:v>0.12106155214187639</c:v>
                </c:pt>
                <c:pt idx="8">
                  <c:v>0.3262023710047276</c:v>
                </c:pt>
                <c:pt idx="9">
                  <c:v>0.10121561452946574</c:v>
                </c:pt>
                <c:pt idx="10">
                  <c:v>9.50555590826723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6.4008750634201065E-4</c:v>
                </c:pt>
                <c:pt idx="8">
                  <c:v>6.100530494765029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86E-3</c:v>
                </c:pt>
                <c:pt idx="1">
                  <c:v>1.6414059402893172E-2</c:v>
                </c:pt>
                <c:pt idx="2">
                  <c:v>1.8161040186737358E-2</c:v>
                </c:pt>
                <c:pt idx="3">
                  <c:v>4.1076518711765493E-2</c:v>
                </c:pt>
                <c:pt idx="4">
                  <c:v>7.1941890867163433E-2</c:v>
                </c:pt>
                <c:pt idx="5">
                  <c:v>9.2447332939716881E-2</c:v>
                </c:pt>
                <c:pt idx="6">
                  <c:v>0.10831682527395142</c:v>
                </c:pt>
                <c:pt idx="7">
                  <c:v>0.18902377510261559</c:v>
                </c:pt>
                <c:pt idx="8">
                  <c:v>0.19576873044059104</c:v>
                </c:pt>
                <c:pt idx="9">
                  <c:v>4.9546663979823755E-2</c:v>
                </c:pt>
                <c:pt idx="10">
                  <c:v>0.211159130405139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605E-2</c:v>
                </c:pt>
                <c:pt idx="5">
                  <c:v>0.1236600148751794</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2</c:v>
                </c:pt>
                <c:pt idx="6">
                  <c:v>0.12647657415686711</c:v>
                </c:pt>
                <c:pt idx="7">
                  <c:v>0.19717935221122621</c:v>
                </c:pt>
                <c:pt idx="8">
                  <c:v>0.14705443469514709</c:v>
                </c:pt>
                <c:pt idx="9">
                  <c:v>0.12556180470126249</c:v>
                </c:pt>
                <c:pt idx="10">
                  <c:v>0.134117996070405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4E-2</c:v>
                </c:pt>
                <c:pt idx="1">
                  <c:v>2.5712148835382802E-2</c:v>
                </c:pt>
                <c:pt idx="2">
                  <c:v>3.3589224880169175E-2</c:v>
                </c:pt>
                <c:pt idx="3">
                  <c:v>4.7555465818613675E-2</c:v>
                </c:pt>
                <c:pt idx="4">
                  <c:v>7.2169314610381535E-2</c:v>
                </c:pt>
                <c:pt idx="5">
                  <c:v>0.11538975237199361</c:v>
                </c:pt>
                <c:pt idx="6">
                  <c:v>0.13910064653920556</c:v>
                </c:pt>
                <c:pt idx="7">
                  <c:v>0.18415888055193388</c:v>
                </c:pt>
                <c:pt idx="8">
                  <c:v>0.19567579739573701</c:v>
                </c:pt>
                <c:pt idx="9">
                  <c:v>0.13733259935179568</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2E-2</c:v>
                </c:pt>
                <c:pt idx="5">
                  <c:v>0.14762693303421917</c:v>
                </c:pt>
                <c:pt idx="6">
                  <c:v>0.13467382647792436</c:v>
                </c:pt>
                <c:pt idx="7">
                  <c:v>0.15483900827319605</c:v>
                </c:pt>
                <c:pt idx="8">
                  <c:v>0.26165380079754724</c:v>
                </c:pt>
                <c:pt idx="9">
                  <c:v>0.18614307658344176</c:v>
                </c:pt>
                <c:pt idx="10">
                  <c:v>2.04385684151761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1</c:v>
                </c:pt>
                <c:pt idx="6">
                  <c:v>0.1286472547711171</c:v>
                </c:pt>
                <c:pt idx="7">
                  <c:v>0.1797236450590925</c:v>
                </c:pt>
                <c:pt idx="8">
                  <c:v>0.24907140238754866</c:v>
                </c:pt>
                <c:pt idx="9">
                  <c:v>0.15553268833943143</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71E-2</c:v>
                </c:pt>
                <c:pt idx="5">
                  <c:v>0.1579797189122554</c:v>
                </c:pt>
                <c:pt idx="6">
                  <c:v>9.598337906718378E-2</c:v>
                </c:pt>
                <c:pt idx="7">
                  <c:v>0.21068997706434742</c:v>
                </c:pt>
                <c:pt idx="8">
                  <c:v>0.19968366113881508</c:v>
                </c:pt>
                <c:pt idx="9">
                  <c:v>0.15604544109593402</c:v>
                </c:pt>
                <c:pt idx="10">
                  <c:v>4.26984153395650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07E-2</c:v>
                </c:pt>
                <c:pt idx="1">
                  <c:v>2.3450659593645454E-2</c:v>
                </c:pt>
                <c:pt idx="2">
                  <c:v>4.2418163511807661E-2</c:v>
                </c:pt>
                <c:pt idx="3">
                  <c:v>2.0666175437598685E-2</c:v>
                </c:pt>
                <c:pt idx="4">
                  <c:v>5.0223009271810573E-2</c:v>
                </c:pt>
                <c:pt idx="5">
                  <c:v>7.2486072766880225E-2</c:v>
                </c:pt>
                <c:pt idx="6">
                  <c:v>0.14481255446315669</c:v>
                </c:pt>
                <c:pt idx="7">
                  <c:v>0.16464962829241295</c:v>
                </c:pt>
                <c:pt idx="8">
                  <c:v>0.37080110599668015</c:v>
                </c:pt>
                <c:pt idx="9">
                  <c:v>7.1442598795916926E-2</c:v>
                </c:pt>
                <c:pt idx="10">
                  <c:v>2.9383996426922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8</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5384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93095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4997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35260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69176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86627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17667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50722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5881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1678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7716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5893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8631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7728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08913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3315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74137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46313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0966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61416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3126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2556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33612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1013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29009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161213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080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69254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8195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84179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3137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28202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9666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452942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59090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27153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718676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02101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28976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84114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58791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81865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287912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6446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61600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41273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3593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64304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87920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024291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93502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519606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93131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52985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7764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083807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565666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98770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588971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60261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526408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87439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8520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6941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7788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6697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5525</Words>
  <Application>Microsoft Office PowerPoint</Application>
  <PresentationFormat>On-screen Show (16:9)</PresentationFormat>
  <Paragraphs>1705</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5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